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300" r:id="rId3"/>
    <p:sldId id="301" r:id="rId4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 showGuides="1">
      <p:cViewPr varScale="1">
        <p:scale>
          <a:sx n="120" d="100"/>
          <a:sy n="120" d="100"/>
        </p:scale>
        <p:origin x="198" y="10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slide" Target="slides/slide3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A08F234-0FFB-0500-EDF0-F2D7DBD3A1B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19C13B63-ADD4-B52A-A456-1DDA27825EC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  <a:endParaRPr lang="en-US"/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962D5C19-C951-32D4-3CEE-2D7FF3FBBD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8F3FE9-E311-431D-8706-76CA58A31400}" type="datetimeFigureOut">
              <a:rPr lang="en-US" smtClean="0"/>
              <a:t>3/9/2024</a:t>
            </a:fld>
            <a:endParaRPr 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8F3D1DE7-357C-4F38-A750-F58771AAB8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DD04976B-A973-9F48-E6EB-C5F443E1CF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A189FF-EFF5-4246-8E9B-6CA6AD6EC6E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918888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8AE0EC4-B2A8-97FE-EDEE-C11F25C750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D75CD42E-76A8-7CD9-6BCA-CDDE11C2A9E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/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21456B31-AD1A-F8B2-10ED-D5D102C2CE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8F3FE9-E311-431D-8706-76CA58A31400}" type="datetimeFigureOut">
              <a:rPr lang="en-US" smtClean="0"/>
              <a:t>3/9/2024</a:t>
            </a:fld>
            <a:endParaRPr 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9D94DFF5-4F5F-B047-E7BE-1DA82F3FE8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BC6AF9B9-3DDA-38C8-AB3C-9C39E68DBF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A189FF-EFF5-4246-8E9B-6CA6AD6EC6E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261012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>
            <a:extLst>
              <a:ext uri="{FF2B5EF4-FFF2-40B4-BE49-F238E27FC236}">
                <a16:creationId xmlns:a16="http://schemas.microsoft.com/office/drawing/2014/main" id="{2465B5CE-B49E-EA87-C16D-905F0BF431F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64BC65DB-578C-6533-AB06-5CBCD9C2C65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/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A0EEC1AE-3195-E4F0-B5E4-E1C81665DF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8F3FE9-E311-431D-8706-76CA58A31400}" type="datetimeFigureOut">
              <a:rPr lang="en-US" smtClean="0"/>
              <a:t>3/9/2024</a:t>
            </a:fld>
            <a:endParaRPr 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44FB6429-5FC5-6EA4-0E62-1A47C539B0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92A15D67-516A-4A71-A8F3-BB9F6B8430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A189FF-EFF5-4246-8E9B-6CA6AD6EC6E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285567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对象 10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8227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95" imgH="394" progId="TCLayout.ActiveDocument.1">
                  <p:embed/>
                </p:oleObj>
              </mc:Choice>
              <mc:Fallback>
                <p:oleObj name="think-cell 幻灯片" r:id="rId3" imgW="395" imgH="394" progId="TCLayout.ActiveDocument.1">
                  <p:embed/>
                  <p:pic>
                    <p:nvPicPr>
                      <p:cNvPr id="11" name="对象 10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28983A-8162-4367-ACED-E26734A1D42C}" type="datetimeFigureOut">
              <a:rPr lang="en-US" smtClean="0"/>
              <a:t>3/9/2024</a:t>
            </a:fld>
            <a:endParaRPr lang="en-US" dirty="0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EF83F9-F129-4340-94BD-94932F3C872B}" type="slidenum">
              <a:rPr lang="en-US" smtClean="0"/>
              <a:t>‹#›</a:t>
            </a:fld>
            <a:endParaRPr lang="en-US"/>
          </a:p>
        </p:txBody>
      </p:sp>
      <p:grpSp>
        <p:nvGrpSpPr>
          <p:cNvPr id="6" name="组合 5"/>
          <p:cNvGrpSpPr/>
          <p:nvPr userDrawn="1"/>
        </p:nvGrpSpPr>
        <p:grpSpPr>
          <a:xfrm>
            <a:off x="42409" y="115869"/>
            <a:ext cx="6233082" cy="463618"/>
            <a:chOff x="2267744" y="869738"/>
            <a:chExt cx="4675527" cy="402738"/>
          </a:xfrm>
        </p:grpSpPr>
        <p:sp>
          <p:nvSpPr>
            <p:cNvPr id="7" name="矩形 6"/>
            <p:cNvSpPr/>
            <p:nvPr/>
          </p:nvSpPr>
          <p:spPr>
            <a:xfrm>
              <a:off x="2267744" y="869738"/>
              <a:ext cx="399972" cy="399972"/>
            </a:xfrm>
            <a:prstGeom prst="rect">
              <a:avLst/>
            </a:prstGeom>
            <a:gradFill>
              <a:gsLst>
                <a:gs pos="0">
                  <a:srgbClr val="2C344B"/>
                </a:gs>
                <a:gs pos="100000">
                  <a:srgbClr val="21273E"/>
                </a:gs>
              </a:gsLst>
              <a:lin ang="5400000" scaled="0"/>
            </a:gradFill>
            <a:ln>
              <a:noFill/>
            </a:ln>
            <a:effectLst>
              <a:outerShdw blurRad="1270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 defTabSz="1218987">
                <a:lnSpc>
                  <a:spcPct val="120000"/>
                </a:lnSpc>
              </a:pPr>
              <a:r>
                <a:rPr lang="en-US" altLang="zh-CN" sz="1866" dirty="0">
                  <a:solidFill>
                    <a:prstClr val="white"/>
                  </a:solidFill>
                  <a:latin typeface="Impact" panose="020B0806030902050204" pitchFamily="34" charset="0"/>
                  <a:ea typeface="汉仪中宋简"/>
                  <a:cs typeface="+mn-ea"/>
                  <a:sym typeface="+mn-lt"/>
                </a:rPr>
                <a:t>01</a:t>
              </a:r>
              <a:endParaRPr lang="zh-CN" altLang="en-US" sz="1866" dirty="0">
                <a:solidFill>
                  <a:prstClr val="white"/>
                </a:solidFill>
                <a:latin typeface="Impact" panose="020B0806030902050204" pitchFamily="34" charset="0"/>
                <a:ea typeface="汉仪中宋简"/>
                <a:cs typeface="+mn-ea"/>
                <a:sym typeface="+mn-lt"/>
              </a:endParaRPr>
            </a:p>
          </p:txBody>
        </p:sp>
        <p:grpSp>
          <p:nvGrpSpPr>
            <p:cNvPr id="8" name="组合 7"/>
            <p:cNvGrpSpPr/>
            <p:nvPr/>
          </p:nvGrpSpPr>
          <p:grpSpPr>
            <a:xfrm>
              <a:off x="2667716" y="1203342"/>
              <a:ext cx="4275555" cy="69134"/>
              <a:chOff x="5373241" y="1465269"/>
              <a:chExt cx="4275555" cy="69134"/>
            </a:xfrm>
          </p:grpSpPr>
          <p:cxnSp>
            <p:nvCxnSpPr>
              <p:cNvPr id="9" name="直接连接符 8"/>
              <p:cNvCxnSpPr>
                <a:cxnSpLocks/>
              </p:cNvCxnSpPr>
              <p:nvPr/>
            </p:nvCxnSpPr>
            <p:spPr>
              <a:xfrm>
                <a:off x="5373241" y="1499836"/>
                <a:ext cx="4275555" cy="0"/>
              </a:xfrm>
              <a:prstGeom prst="line">
                <a:avLst/>
              </a:prstGeom>
              <a:ln w="12700">
                <a:solidFill>
                  <a:srgbClr val="21273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" name="矩形 9"/>
              <p:cNvSpPr/>
              <p:nvPr/>
            </p:nvSpPr>
            <p:spPr>
              <a:xfrm>
                <a:off x="5554329" y="1465269"/>
                <a:ext cx="4000392" cy="69134"/>
              </a:xfrm>
              <a:prstGeom prst="rect">
                <a:avLst/>
              </a:prstGeom>
              <a:gradFill>
                <a:gsLst>
                  <a:gs pos="0">
                    <a:srgbClr val="2C344B"/>
                  </a:gs>
                  <a:gs pos="100000">
                    <a:srgbClr val="21273E"/>
                  </a:gs>
                </a:gsLst>
                <a:lin ang="54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8987"/>
                <a:endParaRPr lang="zh-CN" altLang="en-US" sz="1866" dirty="0">
                  <a:solidFill>
                    <a:prstClr val="white"/>
                  </a:solidFill>
                  <a:latin typeface="CorpoS"/>
                  <a:ea typeface="汉仪中宋简"/>
                  <a:cs typeface="+mn-ea"/>
                  <a:sym typeface="+mn-lt"/>
                </a:endParaRPr>
              </a:p>
            </p:txBody>
          </p:sp>
        </p:grpSp>
      </p:grpSp>
      <p:sp>
        <p:nvSpPr>
          <p:cNvPr id="12" name="文本框 11"/>
          <p:cNvSpPr txBox="1"/>
          <p:nvPr userDrawn="1"/>
        </p:nvSpPr>
        <p:spPr>
          <a:xfrm>
            <a:off x="743011" y="105127"/>
            <a:ext cx="820979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b="1" dirty="0">
                <a:solidFill>
                  <a:srgbClr val="2A3249"/>
                </a:solidFill>
              </a:rPr>
              <a:t>E-Drive issue daily report vehicle ——</a:t>
            </a:r>
          </a:p>
        </p:txBody>
      </p:sp>
      <p:sp>
        <p:nvSpPr>
          <p:cNvPr id="13" name="日期占位符 6"/>
          <p:cNvSpPr txBox="1">
            <a:spLocks/>
          </p:cNvSpPr>
          <p:nvPr userDrawn="1"/>
        </p:nvSpPr>
        <p:spPr>
          <a:xfrm>
            <a:off x="5057816" y="12905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 sz="2000" b="1" dirty="0">
              <a:solidFill>
                <a:srgbClr val="2A3249"/>
              </a:solidFill>
            </a:endParaRPr>
          </a:p>
        </p:txBody>
      </p:sp>
      <p:sp>
        <p:nvSpPr>
          <p:cNvPr id="14" name="矩形 13"/>
          <p:cNvSpPr/>
          <p:nvPr userDrawn="1"/>
        </p:nvSpPr>
        <p:spPr>
          <a:xfrm>
            <a:off x="42408" y="749557"/>
            <a:ext cx="11844791" cy="302400"/>
          </a:xfrm>
          <a:prstGeom prst="rect">
            <a:avLst/>
          </a:prstGeom>
          <a:solidFill>
            <a:srgbClr val="5B9B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>
              <a:buFont typeface="Wingdings" panose="05000000000000000000" pitchFamily="2" charset="2"/>
              <a:buChar char="u"/>
            </a:pPr>
            <a:r>
              <a:rPr lang="en-US" altLang="zh-CN" sz="1800" b="1" dirty="0">
                <a:solidFill>
                  <a:schemeClr val="bg1"/>
                </a:solidFill>
              </a:rPr>
              <a:t>Today </a:t>
            </a:r>
            <a:r>
              <a:rPr lang="en-US" altLang="zh-CN" sz="1800" b="1" dirty="0" err="1">
                <a:solidFill>
                  <a:schemeClr val="bg1"/>
                </a:solidFill>
              </a:rPr>
              <a:t>xEV</a:t>
            </a:r>
            <a:r>
              <a:rPr lang="en-US" altLang="zh-CN" sz="1800" b="1" dirty="0">
                <a:solidFill>
                  <a:schemeClr val="bg1"/>
                </a:solidFill>
              </a:rPr>
              <a:t> Production volume</a:t>
            </a:r>
          </a:p>
        </p:txBody>
      </p:sp>
      <p:sp>
        <p:nvSpPr>
          <p:cNvPr id="15" name="矩形 14"/>
          <p:cNvSpPr/>
          <p:nvPr userDrawn="1"/>
        </p:nvSpPr>
        <p:spPr>
          <a:xfrm>
            <a:off x="42408" y="1840188"/>
            <a:ext cx="11887199" cy="301968"/>
          </a:xfrm>
          <a:prstGeom prst="rect">
            <a:avLst/>
          </a:prstGeom>
          <a:solidFill>
            <a:srgbClr val="5B9B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>
              <a:buFont typeface="Wingdings" panose="05000000000000000000" pitchFamily="2" charset="2"/>
              <a:buChar char="u"/>
            </a:pPr>
            <a:r>
              <a:rPr lang="en-US" altLang="zh-CN" sz="1800" b="1" dirty="0">
                <a:solidFill>
                  <a:schemeClr val="bg1"/>
                </a:solidFill>
              </a:rPr>
              <a:t>Today </a:t>
            </a:r>
            <a:r>
              <a:rPr lang="en-US" altLang="zh-CN" sz="1800" b="1" dirty="0" err="1">
                <a:solidFill>
                  <a:schemeClr val="bg1"/>
                </a:solidFill>
              </a:rPr>
              <a:t>xEV</a:t>
            </a:r>
            <a:r>
              <a:rPr lang="en-US" altLang="zh-CN" sz="1800" b="1" dirty="0">
                <a:solidFill>
                  <a:schemeClr val="bg1"/>
                </a:solidFill>
              </a:rPr>
              <a:t> FTC  </a:t>
            </a:r>
          </a:p>
        </p:txBody>
      </p:sp>
      <p:sp>
        <p:nvSpPr>
          <p:cNvPr id="17" name="矩形 16"/>
          <p:cNvSpPr/>
          <p:nvPr userDrawn="1"/>
        </p:nvSpPr>
        <p:spPr>
          <a:xfrm>
            <a:off x="42410" y="2884474"/>
            <a:ext cx="11844789" cy="301968"/>
          </a:xfrm>
          <a:prstGeom prst="rect">
            <a:avLst/>
          </a:prstGeom>
          <a:solidFill>
            <a:srgbClr val="5B9B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>
              <a:buFont typeface="Wingdings" panose="05000000000000000000" pitchFamily="2" charset="2"/>
              <a:buChar char="u"/>
            </a:pPr>
            <a:r>
              <a:rPr lang="en-US" altLang="zh-CN" sz="1800" b="1" dirty="0">
                <a:solidFill>
                  <a:schemeClr val="bg1"/>
                </a:solidFill>
              </a:rPr>
              <a:t>Critical Issue influence </a:t>
            </a:r>
            <a:r>
              <a:rPr lang="en-US" altLang="zh-CN" sz="1800" b="1" dirty="0" err="1">
                <a:solidFill>
                  <a:schemeClr val="bg1"/>
                </a:solidFill>
              </a:rPr>
              <a:t>xEV</a:t>
            </a:r>
            <a:r>
              <a:rPr lang="en-US" altLang="zh-CN" sz="1800" b="1" dirty="0">
                <a:solidFill>
                  <a:schemeClr val="bg1"/>
                </a:solidFill>
              </a:rPr>
              <a:t> FTC: </a:t>
            </a:r>
          </a:p>
        </p:txBody>
      </p:sp>
      <p:sp>
        <p:nvSpPr>
          <p:cNvPr id="19" name="文本框 18"/>
          <p:cNvSpPr txBox="1"/>
          <p:nvPr userDrawn="1"/>
        </p:nvSpPr>
        <p:spPr>
          <a:xfrm>
            <a:off x="42408" y="3682428"/>
            <a:ext cx="11606666" cy="20309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05071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98CC701-D25B-DAFD-974A-469D15603B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AC347BFF-5B47-F906-2380-A28D03B17F4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/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83E674D9-7488-3500-8F72-E49820531C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8F3FE9-E311-431D-8706-76CA58A31400}" type="datetimeFigureOut">
              <a:rPr lang="en-US" smtClean="0"/>
              <a:t>3/9/2024</a:t>
            </a:fld>
            <a:endParaRPr 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2CB28270-9AEA-A591-EEB9-5A75ACE4B5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272C8B4E-2AA6-D4D9-6CB0-4AF60CD221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A189FF-EFF5-4246-8E9B-6CA6AD6EC6E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281697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EFC8D6E-9486-5732-6E71-97F0D479C5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4EF710DD-3638-F17B-8F3C-FA5E1A9CAC8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4A3FDF4D-8575-C020-EECA-4960934950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8F3FE9-E311-431D-8706-76CA58A31400}" type="datetimeFigureOut">
              <a:rPr lang="en-US" smtClean="0"/>
              <a:t>3/9/2024</a:t>
            </a:fld>
            <a:endParaRPr 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C9592BAA-58A3-42AC-B737-9CC1CE25B4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69ECFCBE-DD55-1BBE-B3B0-069D51A7CC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A189FF-EFF5-4246-8E9B-6CA6AD6EC6E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279443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489D340-0EEB-F136-7EFB-8CEB806A5F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0EAA599B-1154-F145-2B9C-C9AC854EC6A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/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87FAE41F-C58D-FD87-376A-96336C1B827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/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4F8DB3DC-6B08-AA0D-B788-B73FD73737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8F3FE9-E311-431D-8706-76CA58A31400}" type="datetimeFigureOut">
              <a:rPr lang="en-US" smtClean="0"/>
              <a:t>3/9/2024</a:t>
            </a:fld>
            <a:endParaRPr 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7D6C58C7-9DDB-F537-0DE2-CBB429AC63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89DC1CF5-2F45-3740-6F29-48BF5AD774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A189FF-EFF5-4246-8E9B-6CA6AD6EC6E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283986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334E0F2-600B-FC7A-12FA-8E1CC41615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2669489E-1CE9-9B6B-B9C2-D2FC941592C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92BF206D-6AFA-B520-FCD1-4AA35C40E2D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/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CFC659B3-F402-FA08-7A5F-D0FE9FDEFA8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>
            <a:extLst>
              <a:ext uri="{FF2B5EF4-FFF2-40B4-BE49-F238E27FC236}">
                <a16:creationId xmlns:a16="http://schemas.microsoft.com/office/drawing/2014/main" id="{CA084F23-ACE9-4BA5-1F27-72B8C37F79A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/>
          </a:p>
        </p:txBody>
      </p:sp>
      <p:sp>
        <p:nvSpPr>
          <p:cNvPr id="7" name="日期占位符 6">
            <a:extLst>
              <a:ext uri="{FF2B5EF4-FFF2-40B4-BE49-F238E27FC236}">
                <a16:creationId xmlns:a16="http://schemas.microsoft.com/office/drawing/2014/main" id="{8200C675-0D37-84D9-0480-26A2C337F8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8F3FE9-E311-431D-8706-76CA58A31400}" type="datetimeFigureOut">
              <a:rPr lang="en-US" smtClean="0"/>
              <a:t>3/9/2024</a:t>
            </a:fld>
            <a:endParaRPr lang="en-US"/>
          </a:p>
        </p:txBody>
      </p:sp>
      <p:sp>
        <p:nvSpPr>
          <p:cNvPr id="8" name="页脚占位符 7">
            <a:extLst>
              <a:ext uri="{FF2B5EF4-FFF2-40B4-BE49-F238E27FC236}">
                <a16:creationId xmlns:a16="http://schemas.microsoft.com/office/drawing/2014/main" id="{55D34A28-1ED2-F980-5B26-6A30EFC582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灯片编号占位符 8">
            <a:extLst>
              <a:ext uri="{FF2B5EF4-FFF2-40B4-BE49-F238E27FC236}">
                <a16:creationId xmlns:a16="http://schemas.microsoft.com/office/drawing/2014/main" id="{802ADC7C-3070-64F1-59FF-F72E21C879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A189FF-EFF5-4246-8E9B-6CA6AD6EC6E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345672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EFE073B-80B1-839C-20DD-4606CA4F6A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4B4BB3A2-93B9-20D0-E290-F453ABD279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8F3FE9-E311-431D-8706-76CA58A31400}" type="datetimeFigureOut">
              <a:rPr lang="en-US" smtClean="0"/>
              <a:t>3/9/2024</a:t>
            </a:fld>
            <a:endParaRPr 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1670337-6304-5402-85DC-BFDF39173B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33DFA13-8B0B-8DC2-F09B-DE4F1F3B1A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A189FF-EFF5-4246-8E9B-6CA6AD6EC6E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007727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>
            <a:extLst>
              <a:ext uri="{FF2B5EF4-FFF2-40B4-BE49-F238E27FC236}">
                <a16:creationId xmlns:a16="http://schemas.microsoft.com/office/drawing/2014/main" id="{EABEC5E2-772D-19BA-C832-D01688B5D8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8F3FE9-E311-431D-8706-76CA58A31400}" type="datetimeFigureOut">
              <a:rPr lang="en-US" smtClean="0"/>
              <a:t>3/9/2024</a:t>
            </a:fld>
            <a:endParaRPr lang="en-US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F5BD2A97-1A19-52C2-841C-4642B8268F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7D3FE185-DF5B-B35B-9950-6E1D11C072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A189FF-EFF5-4246-8E9B-6CA6AD6EC6E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424841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C4FB13D-F871-DB9C-5CE2-E17D364BD2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27C2CB0D-8606-C199-A7C4-99C92ED8977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FF16C991-A116-886E-68C1-7BFF4D49CE5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7D94A003-3946-1DB2-5A3A-5AF32CBB99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8F3FE9-E311-431D-8706-76CA58A31400}" type="datetimeFigureOut">
              <a:rPr lang="en-US" smtClean="0"/>
              <a:t>3/9/2024</a:t>
            </a:fld>
            <a:endParaRPr 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EA5E03DA-B853-F6AD-DA37-759365D1F3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0C4E9BCD-0B18-A785-C8D5-5A496892CA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A189FF-EFF5-4246-8E9B-6CA6AD6EC6E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283893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2070424-273C-D86D-48E5-1EE7C525A8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图片占位符 2">
            <a:extLst>
              <a:ext uri="{FF2B5EF4-FFF2-40B4-BE49-F238E27FC236}">
                <a16:creationId xmlns:a16="http://schemas.microsoft.com/office/drawing/2014/main" id="{BD31DA50-6605-C0B8-F75C-CF3E35FBD04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C2E4500D-3BF8-0D73-BC11-E8CD59524B7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637A2C32-0D36-7797-FCA3-A75FE83A11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8F3FE9-E311-431D-8706-76CA58A31400}" type="datetimeFigureOut">
              <a:rPr lang="en-US" smtClean="0"/>
              <a:t>3/9/2024</a:t>
            </a:fld>
            <a:endParaRPr 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11AD27E8-A73B-AEAB-CDAB-5D6ABA4DE7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A52461C6-B331-58C3-8110-0CC95874A0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A189FF-EFF5-4246-8E9B-6CA6AD6EC6E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886264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>
            <a:extLst>
              <a:ext uri="{FF2B5EF4-FFF2-40B4-BE49-F238E27FC236}">
                <a16:creationId xmlns:a16="http://schemas.microsoft.com/office/drawing/2014/main" id="{A1998BC7-6A96-0B76-05F4-4E8B29B059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5746FBF1-EA0F-2D78-8F2E-380D76EBF7B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/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9923531E-531F-CC30-79E5-05905B08876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68F3FE9-E311-431D-8706-76CA58A31400}" type="datetimeFigureOut">
              <a:rPr lang="en-US" smtClean="0"/>
              <a:t>3/9/2024</a:t>
            </a:fld>
            <a:endParaRPr 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05EEDFAB-A517-D81B-1842-538734E310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75E7F370-1AE0-B807-0FA5-C723FBA7C5E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3A189FF-EFF5-4246-8E9B-6CA6AD6EC6E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29376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/>
          <p:cNvGraphicFramePr>
            <a:graphicFrameLocks noGrp="1"/>
          </p:cNvGraphicFramePr>
          <p:nvPr/>
        </p:nvGraphicFramePr>
        <p:xfrm>
          <a:off x="360000" y="1080000"/>
          <a:ext cx="11520000" cy="720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2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2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92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92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9200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9200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60000">
                <a:tc>
                  <a:txBody>
                    <a:bodyPr/>
                    <a:lstStyle/>
                    <a:p>
                      <a:pPr>
                        <a:defRPr sz="1600"/>
                      </a:pPr>
                      <a:r>
                        <a:rPr sz="1400" dirty="0"/>
                        <a:t>V214</a:t>
                      </a:r>
                      <a:r>
                        <a:rPr lang="en-US" sz="1400" dirty="0"/>
                        <a:t> </a:t>
                      </a:r>
                      <a:r>
                        <a:rPr lang="en-US" altLang="zh-CN" sz="1400" dirty="0"/>
                        <a:t>PHEV</a:t>
                      </a:r>
                      <a:r>
                        <a:rPr sz="1400" dirty="0"/>
                        <a:t> com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600"/>
                      </a:pPr>
                      <a:r>
                        <a:rPr dirty="0"/>
                        <a:t>MRA1 FW V206 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600"/>
                      </a:pPr>
                      <a:r>
                        <a:rPr dirty="0"/>
                        <a:t>MFA FW H24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600"/>
                      </a:pPr>
                      <a:r>
                        <a:rPr dirty="0"/>
                        <a:t>MFA FW X24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600"/>
                      </a:pPr>
                      <a:r>
                        <a:t>SY FW V29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600"/>
                      </a:pPr>
                      <a:r>
                        <a:rPr dirty="0"/>
                        <a:t>SY FW X29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>
                        <a:defRPr sz="1600" b="1"/>
                      </a:pPr>
                      <a:r>
                        <a:rPr lang="en-US" altLang="zh-CN" dirty="0"/>
                        <a:t>0</a:t>
                      </a:r>
                      <a:endParaRPr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600" b="1"/>
                      </a:pPr>
                      <a:r>
                        <a:rPr lang="en-US" dirty="0"/>
                        <a:t>0</a:t>
                      </a:r>
                      <a:endParaRPr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600" b="1"/>
                      </a:pPr>
                      <a:r>
                        <a:rPr lang="en-US" altLang="zh-CN" dirty="0"/>
                        <a:t>0</a:t>
                      </a:r>
                      <a:endParaRPr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600" b="1"/>
                      </a:pPr>
                      <a:r>
                        <a:rPr lang="en-US" dirty="0"/>
                        <a:t>7</a:t>
                      </a:r>
                      <a:r>
                        <a:rPr lang="en-US" altLang="zh-CN" dirty="0"/>
                        <a:t>2</a:t>
                      </a:r>
                      <a:endParaRPr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600" b="1"/>
                      </a:pPr>
                      <a:r>
                        <a:rPr lang="en-US" altLang="zh-CN" dirty="0"/>
                        <a:t>0</a:t>
                      </a:r>
                      <a:endParaRPr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600" b="1"/>
                      </a:pPr>
                      <a:r>
                        <a:rPr lang="en-US" altLang="zh-CN" dirty="0"/>
                        <a:t>0</a:t>
                      </a:r>
                      <a:endParaRPr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40453365"/>
              </p:ext>
            </p:extLst>
          </p:nvPr>
        </p:nvGraphicFramePr>
        <p:xfrm>
          <a:off x="360000" y="2160000"/>
          <a:ext cx="11520000" cy="609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2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2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92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92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9200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9200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180000">
                <a:tc>
                  <a:txBody>
                    <a:bodyPr/>
                    <a:lstStyle/>
                    <a:p>
                      <a:pPr>
                        <a:defRPr sz="1200"/>
                      </a:pPr>
                      <a:r>
                        <a:rPr dirty="0"/>
                        <a:t>V214 </a:t>
                      </a:r>
                      <a:r>
                        <a:rPr lang="en-US" altLang="zh-CN" dirty="0"/>
                        <a:t>PHEV</a:t>
                      </a:r>
                      <a:r>
                        <a:rPr lang="en-US" dirty="0"/>
                        <a:t> </a:t>
                      </a:r>
                      <a:endParaRPr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200"/>
                      </a:pPr>
                      <a:r>
                        <a:rPr dirty="0"/>
                        <a:t>MRA1 FW V206 E   &gt;9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200"/>
                      </a:pPr>
                      <a:r>
                        <a:rPr dirty="0"/>
                        <a:t>MFA FW H243   &gt;96.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200"/>
                      </a:pPr>
                      <a:r>
                        <a:t>MFA FW X243   &gt;96.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200"/>
                      </a:pPr>
                      <a:r>
                        <a:t>SY FW V295   &gt;96.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200"/>
                      </a:pPr>
                      <a:r>
                        <a:rPr dirty="0"/>
                        <a:t>SY FW X294   &gt;9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600" b="1">
                          <a:solidFill>
                            <a:srgbClr val="FF0000"/>
                          </a:solidFill>
                        </a:defRPr>
                      </a:pPr>
                      <a:r>
                        <a:rPr kumimoji="0" lang="en-US" altLang="zh-CN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等线" panose="020F0502020204030204"/>
                          <a:ea typeface="等线" panose="02010600030101010101" pitchFamily="2" charset="-122"/>
                          <a:cs typeface="+mn-cs"/>
                        </a:rPr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600" b="1">
                          <a:solidFill>
                            <a:srgbClr val="FF0000"/>
                          </a:solidFill>
                        </a:defRPr>
                      </a:pPr>
                      <a:r>
                        <a:rPr kumimoji="0" lang="en-US" altLang="zh-CN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600" b="1">
                          <a:solidFill>
                            <a:srgbClr val="FF0000"/>
                          </a:solidFill>
                        </a:defRPr>
                      </a:pPr>
                      <a:r>
                        <a:rPr kumimoji="0" lang="en-US" altLang="zh-CN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600" b="1">
                          <a:solidFill>
                            <a:srgbClr val="FF0000"/>
                          </a:solidFill>
                        </a:defRPr>
                      </a:pPr>
                      <a:r>
                        <a:rPr kumimoji="0" lang="en-US" altLang="zh-CN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86.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600" b="1">
                          <a:solidFill>
                            <a:srgbClr val="FF0000"/>
                          </a:solidFill>
                        </a:defRPr>
                      </a:pPr>
                      <a:r>
                        <a:rPr kumimoji="0" lang="en-US" altLang="zh-CN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3423423413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600" b="1">
                          <a:solidFill>
                            <a:srgbClr val="FF0000"/>
                          </a:solidFill>
                        </a:defRPr>
                      </a:pPr>
                      <a:r>
                        <a:rPr kumimoji="0" lang="en-US" altLang="zh-CN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413413434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4" name="Table 3"/>
          <p:cNvGraphicFramePr>
            <a:graphicFrameLocks noGrp="1"/>
          </p:cNvGraphicFramePr>
          <p:nvPr/>
        </p:nvGraphicFramePr>
        <p:xfrm>
          <a:off x="360000" y="3240000"/>
          <a:ext cx="11520000" cy="302399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32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84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34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03999">
                <a:tc>
                  <a:txBody>
                    <a:bodyPr/>
                    <a:lstStyle/>
                    <a:p>
                      <a:pPr>
                        <a:defRPr sz="1200" b="1">
                          <a:solidFill>
                            <a:srgbClr val="000000"/>
                          </a:solidFill>
                        </a:defRPr>
                      </a:pPr>
                      <a:r>
                        <a:t>MRA1 FW V214 PHEV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200" b="1">
                          <a:solidFill>
                            <a:srgbClr val="000000"/>
                          </a:solidFill>
                        </a:defRPr>
                      </a:pPr>
                      <a:r>
                        <a:rPr dirty="0"/>
                        <a:t>No E-Drive highlight </a:t>
                      </a:r>
                      <a:r>
                        <a:rPr sz="1200" b="1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issues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200" b="1">
                          <a:solidFill>
                            <a:srgbClr val="000000"/>
                          </a:solidFill>
                        </a:defRPr>
                      </a:pPr>
                      <a:endParaRPr dirty="0"/>
                    </a:p>
                  </a:txBody>
                  <a:tcP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03999">
                <a:tc>
                  <a:txBody>
                    <a:bodyPr/>
                    <a:lstStyle/>
                    <a:p>
                      <a:pPr>
                        <a:defRPr sz="1200" b="1">
                          <a:solidFill>
                            <a:srgbClr val="000000"/>
                          </a:solidFill>
                        </a:defRPr>
                      </a:pPr>
                      <a:r>
                        <a:rPr dirty="0"/>
                        <a:t>MRA1 FW V206 PHEV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200" b="1">
                          <a:solidFill>
                            <a:srgbClr val="000000"/>
                          </a:solidFill>
                        </a:defRPr>
                      </a:pPr>
                      <a:r>
                        <a:rPr lang="en-US" altLang="zh-CN" dirty="0"/>
                        <a:t>No E-Drive highlight </a:t>
                      </a:r>
                      <a:r>
                        <a:rPr lang="en-US" altLang="zh-CN" sz="1200" b="1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issues</a:t>
                      </a:r>
                    </a:p>
                    <a:p>
                      <a:pPr>
                        <a:defRPr sz="1200" b="1">
                          <a:solidFill>
                            <a:srgbClr val="000000"/>
                          </a:solidFill>
                        </a:defRPr>
                      </a:pPr>
                      <a:endParaRPr lang="en-US" altLang="zh-CN" sz="1200" b="1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200" b="1">
                          <a:solidFill>
                            <a:srgbClr val="000000"/>
                          </a:solidFill>
                        </a:defRPr>
                      </a:pPr>
                      <a:endParaRPr dirty="0"/>
                    </a:p>
                  </a:txBody>
                  <a:tcP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03999">
                <a:tc>
                  <a:txBody>
                    <a:bodyPr/>
                    <a:lstStyle/>
                    <a:p>
                      <a:pPr>
                        <a:defRPr sz="1200" b="1">
                          <a:solidFill>
                            <a:srgbClr val="000000"/>
                          </a:solidFill>
                        </a:defRPr>
                      </a:pPr>
                      <a:r>
                        <a:t>MFA FW H243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200" b="1">
                          <a:solidFill>
                            <a:srgbClr val="000000"/>
                          </a:solidFill>
                        </a:defRPr>
                      </a:pPr>
                      <a:r>
                        <a:rPr lang="en-US" altLang="zh-CN" dirty="0"/>
                        <a:t>No E-Drive highlight </a:t>
                      </a:r>
                      <a:r>
                        <a:rPr lang="en-US" altLang="zh-CN" sz="1200" b="1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issues</a:t>
                      </a:r>
                    </a:p>
                    <a:p>
                      <a:pPr>
                        <a:defRPr sz="1200" b="1">
                          <a:solidFill>
                            <a:srgbClr val="000000"/>
                          </a:solidFill>
                        </a:defRPr>
                      </a:pPr>
                      <a:endParaRPr lang="en-US" altLang="zh-CN" sz="1200" b="1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200" b="1">
                          <a:solidFill>
                            <a:srgbClr val="000000"/>
                          </a:solidFill>
                        </a:defRPr>
                      </a:pPr>
                      <a:endParaRPr dirty="0"/>
                    </a:p>
                  </a:txBody>
                  <a:tcP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03999">
                <a:tc>
                  <a:txBody>
                    <a:bodyPr/>
                    <a:lstStyle/>
                    <a:p>
                      <a:pPr>
                        <a:defRPr sz="1200" b="1">
                          <a:solidFill>
                            <a:srgbClr val="000000"/>
                          </a:solidFill>
                        </a:defRPr>
                      </a:pPr>
                      <a:r>
                        <a:rPr dirty="0"/>
                        <a:t>MFA FW X243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200" b="1">
                          <a:solidFill>
                            <a:srgbClr val="000000"/>
                          </a:solidFill>
                        </a:defRPr>
                      </a:pPr>
                      <a:r>
                        <a:rPr lang="en-US" altLang="zh-CN" dirty="0"/>
                        <a:t>1648529/1648589 2</a:t>
                      </a:r>
                      <a:r>
                        <a:rPr lang="zh-CN" altLang="en-US" dirty="0"/>
                        <a:t>*</a:t>
                      </a:r>
                      <a:r>
                        <a:rPr lang="en-US" altLang="zh-CN" dirty="0"/>
                        <a:t>BMS|X901|The control unit was not checked completely</a:t>
                      </a:r>
                      <a:endParaRPr lang="en-US" altLang="zh-CN" sz="1200" b="1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200" b="1">
                          <a:solidFill>
                            <a:srgbClr val="000000"/>
                          </a:solidFill>
                        </a:defRPr>
                      </a:pPr>
                      <a:r>
                        <a:rPr lang="en-US" altLang="zh-CN" dirty="0"/>
                        <a:t>HVB no communication</a:t>
                      </a:r>
                      <a:endParaRPr dirty="0"/>
                    </a:p>
                  </a:txBody>
                  <a:tcP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03999">
                <a:tc>
                  <a:txBody>
                    <a:bodyPr/>
                    <a:lstStyle/>
                    <a:p>
                      <a:pPr>
                        <a:defRPr sz="1200" b="1">
                          <a:solidFill>
                            <a:srgbClr val="000000"/>
                          </a:solidFill>
                        </a:defRPr>
                      </a:pPr>
                      <a:r>
                        <a:t>SY FW V295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200" b="1">
                          <a:solidFill>
                            <a:srgbClr val="000000"/>
                          </a:solidFill>
                        </a:defRPr>
                      </a:pPr>
                      <a:r>
                        <a:rPr lang="en-US" altLang="zh-CN" dirty="0"/>
                        <a:t>No E-Drive highlight </a:t>
                      </a:r>
                      <a:r>
                        <a:rPr lang="en-US" altLang="zh-CN" sz="1200" b="1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issues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200" b="1">
                          <a:solidFill>
                            <a:srgbClr val="000000"/>
                          </a:solidFill>
                        </a:defRPr>
                      </a:pPr>
                      <a:endParaRPr dirty="0"/>
                    </a:p>
                  </a:txBody>
                  <a:tcP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03999">
                <a:tc>
                  <a:txBody>
                    <a:bodyPr/>
                    <a:lstStyle/>
                    <a:p>
                      <a:pPr>
                        <a:defRPr sz="1200" b="1">
                          <a:solidFill>
                            <a:srgbClr val="000000"/>
                          </a:solidFill>
                        </a:defRPr>
                      </a:pPr>
                      <a:r>
                        <a:t>SY FW X294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200" b="1">
                          <a:solidFill>
                            <a:srgbClr val="000000"/>
                          </a:solidFill>
                        </a:defRPr>
                      </a:pPr>
                      <a:r>
                        <a:rPr lang="en-US" altLang="zh-CN" dirty="0"/>
                        <a:t>No E-Drive highlight </a:t>
                      </a:r>
                      <a:r>
                        <a:rPr lang="en-US" altLang="zh-CN" sz="1200" b="1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issues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1200" b="1">
                          <a:solidFill>
                            <a:srgbClr val="000000"/>
                          </a:solidFill>
                        </a:defRPr>
                      </a:pPr>
                      <a:endParaRPr lang="en-US" altLang="zh-CN" baseline="0" dirty="0"/>
                    </a:p>
                  </a:txBody>
                  <a:tcP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6" name="文本框 5"/>
          <p:cNvSpPr txBox="1"/>
          <p:nvPr/>
        </p:nvSpPr>
        <p:spPr>
          <a:xfrm>
            <a:off x="5248614" y="123329"/>
            <a:ext cx="553216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b="1" dirty="0"/>
              <a:t>Production Date</a:t>
            </a:r>
            <a:r>
              <a:rPr lang="zh-CN" altLang="en-US" sz="2000" b="1" dirty="0"/>
              <a:t>：</a:t>
            </a:r>
            <a:r>
              <a:rPr lang="en-US" altLang="zh-CN" sz="2000" b="1" dirty="0"/>
              <a:t>2024/01/10</a:t>
            </a:r>
            <a:endParaRPr lang="en-US" altLang="zh-CN" sz="2000" b="1" dirty="0">
              <a:solidFill>
                <a:schemeClr val="bg1"/>
              </a:solidFill>
            </a:endParaRP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B18D3E97-000A-5490-364B-9B4F41F41CE4}"/>
              </a:ext>
            </a:extLst>
          </p:cNvPr>
          <p:cNvSpPr/>
          <p:nvPr/>
        </p:nvSpPr>
        <p:spPr>
          <a:xfrm>
            <a:off x="8969184" y="77258"/>
            <a:ext cx="3043144" cy="532342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这是目前的报告，具体看第二页</a:t>
            </a:r>
            <a:endParaRPr lang="en-US" dirty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60264883"/>
              </p:ext>
            </p:extLst>
          </p:nvPr>
        </p:nvGraphicFramePr>
        <p:xfrm>
          <a:off x="360000" y="1080000"/>
          <a:ext cx="11520000" cy="63645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4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4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4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44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400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4400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440000">
                  <a:extLst>
                    <a:ext uri="{9D8B030D-6E8A-4147-A177-3AD203B41FA5}">
                      <a16:colId xmlns:a16="http://schemas.microsoft.com/office/drawing/2014/main" val="3147493002"/>
                    </a:ext>
                  </a:extLst>
                </a:gridCol>
                <a:gridCol w="1440000">
                  <a:extLst>
                    <a:ext uri="{9D8B030D-6E8A-4147-A177-3AD203B41FA5}">
                      <a16:colId xmlns:a16="http://schemas.microsoft.com/office/drawing/2014/main" val="1811210997"/>
                    </a:ext>
                  </a:extLst>
                </a:gridCol>
              </a:tblGrid>
              <a:tr h="331658">
                <a:tc>
                  <a:txBody>
                    <a:bodyPr/>
                    <a:lstStyle/>
                    <a:p>
                      <a:pPr>
                        <a:defRPr sz="1600"/>
                      </a:pPr>
                      <a:r>
                        <a:rPr lang="en-US" sz="1200" dirty="0"/>
                        <a:t>MFA H243</a:t>
                      </a:r>
                      <a:endParaRPr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600"/>
                      </a:pPr>
                      <a:r>
                        <a:rPr lang="en-US" sz="1200" dirty="0"/>
                        <a:t>MFA X243</a:t>
                      </a:r>
                      <a:endParaRPr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600"/>
                      </a:pPr>
                      <a:r>
                        <a:rPr sz="1200" dirty="0"/>
                        <a:t>MRA1 V206 </a:t>
                      </a:r>
                      <a:r>
                        <a:rPr lang="en-US" sz="1200" dirty="0"/>
                        <a:t>PHEV</a:t>
                      </a:r>
                      <a:endParaRPr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600"/>
                      </a:pPr>
                      <a:r>
                        <a:rPr lang="en-US" sz="1200" dirty="0"/>
                        <a:t>MRA1 V214 PHEV</a:t>
                      </a:r>
                      <a:endParaRPr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600"/>
                      </a:pPr>
                      <a:r>
                        <a:rPr lang="en-US" sz="1200" dirty="0"/>
                        <a:t>MRA1 V254 PHEV</a:t>
                      </a:r>
                      <a:endParaRPr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600"/>
                      </a:pPr>
                      <a:r>
                        <a:rPr lang="en-US" sz="1200" dirty="0"/>
                        <a:t>MFA Z174</a:t>
                      </a:r>
                      <a:endParaRPr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600"/>
                      </a:pPr>
                      <a:r>
                        <a:rPr sz="1200" dirty="0"/>
                        <a:t>SY </a:t>
                      </a:r>
                      <a:r>
                        <a:rPr lang="en-US" sz="1200" dirty="0"/>
                        <a:t>V295</a:t>
                      </a:r>
                      <a:endParaRPr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600"/>
                      </a:pPr>
                      <a:r>
                        <a:rPr lang="en-US" sz="1200" dirty="0"/>
                        <a:t>SY X294</a:t>
                      </a:r>
                      <a:endParaRPr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32564">
                <a:tc>
                  <a:txBody>
                    <a:bodyPr/>
                    <a:lstStyle/>
                    <a:p>
                      <a:pPr>
                        <a:defRPr sz="1600" b="1"/>
                      </a:pPr>
                      <a:r>
                        <a:rPr lang="en-US" altLang="zh-CN" sz="1400" dirty="0"/>
                        <a:t>0</a:t>
                      </a:r>
                      <a:endParaRPr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600" b="1"/>
                      </a:pPr>
                      <a:r>
                        <a:rPr lang="en-US" sz="1400" dirty="0"/>
                        <a:t>0</a:t>
                      </a:r>
                      <a:endParaRPr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600" b="1"/>
                      </a:pPr>
                      <a:r>
                        <a:rPr lang="en-US" sz="1400" dirty="0"/>
                        <a:t>0</a:t>
                      </a:r>
                      <a:endParaRPr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600" b="1"/>
                      </a:pPr>
                      <a:r>
                        <a:rPr lang="en-US" altLang="zh-CN" sz="1400" dirty="0"/>
                        <a:t>0</a:t>
                      </a:r>
                      <a:endParaRPr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600" b="1"/>
                      </a:pPr>
                      <a:r>
                        <a:rPr lang="en-US" sz="1400" dirty="0"/>
                        <a:t>7</a:t>
                      </a:r>
                      <a:r>
                        <a:rPr lang="en-US" altLang="zh-CN" sz="1400" dirty="0"/>
                        <a:t>2</a:t>
                      </a:r>
                      <a:endParaRPr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600" b="1"/>
                      </a:pPr>
                      <a:r>
                        <a:rPr lang="en-US" altLang="zh-CN" sz="1400" dirty="0"/>
                        <a:t>0</a:t>
                      </a:r>
                      <a:endParaRPr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600" b="1"/>
                      </a:pPr>
                      <a:r>
                        <a:rPr lang="en-US" altLang="zh-CN" sz="1400" dirty="0"/>
                        <a:t>0</a:t>
                      </a:r>
                      <a:endParaRPr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600" b="1"/>
                      </a:pPr>
                      <a:r>
                        <a:rPr lang="en-US" sz="1400" dirty="0"/>
                        <a:t>0</a:t>
                      </a:r>
                      <a:endParaRPr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40395197"/>
              </p:ext>
            </p:extLst>
          </p:nvPr>
        </p:nvGraphicFramePr>
        <p:xfrm>
          <a:off x="360000" y="2150374"/>
          <a:ext cx="11520000" cy="75191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4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4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4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44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400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4400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440000">
                  <a:extLst>
                    <a:ext uri="{9D8B030D-6E8A-4147-A177-3AD203B41FA5}">
                      <a16:colId xmlns:a16="http://schemas.microsoft.com/office/drawing/2014/main" val="3202426235"/>
                    </a:ext>
                  </a:extLst>
                </a:gridCol>
                <a:gridCol w="1440000">
                  <a:extLst>
                    <a:ext uri="{9D8B030D-6E8A-4147-A177-3AD203B41FA5}">
                      <a16:colId xmlns:a16="http://schemas.microsoft.com/office/drawing/2014/main" val="2028543722"/>
                    </a:ext>
                  </a:extLst>
                </a:gridCol>
              </a:tblGrid>
              <a:tr h="294719">
                <a:tc>
                  <a:txBody>
                    <a:bodyPr/>
                    <a:lstStyle/>
                    <a:p>
                      <a:pPr>
                        <a:defRPr sz="1600"/>
                      </a:pPr>
                      <a:r>
                        <a:rPr lang="en-US" sz="1200" dirty="0"/>
                        <a:t>MFA H243 &gt;96.5</a:t>
                      </a:r>
                      <a:endParaRPr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600"/>
                      </a:pPr>
                      <a:r>
                        <a:rPr lang="en-US" sz="1200" dirty="0"/>
                        <a:t>MFA X243 </a:t>
                      </a:r>
                      <a:r>
                        <a:rPr lang="en-US" altLang="zh-CN" sz="1200" dirty="0"/>
                        <a:t>&gt;96.5</a:t>
                      </a:r>
                      <a:endParaRPr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600"/>
                      </a:pPr>
                      <a:r>
                        <a:rPr sz="1200" dirty="0"/>
                        <a:t>MRA1 V206 </a:t>
                      </a:r>
                      <a:r>
                        <a:rPr lang="en-US" sz="1200" dirty="0"/>
                        <a:t>PHEV </a:t>
                      </a:r>
                      <a:r>
                        <a:rPr lang="en-US" altLang="zh-CN" sz="1200" dirty="0"/>
                        <a:t>&gt;93</a:t>
                      </a:r>
                      <a:endParaRPr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600"/>
                      </a:pPr>
                      <a:r>
                        <a:rPr lang="en-US" sz="1200" dirty="0"/>
                        <a:t>MRA1 V214 PHEV</a:t>
                      </a:r>
                      <a:endParaRPr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600"/>
                      </a:pPr>
                      <a:r>
                        <a:rPr lang="en-US" sz="1200" dirty="0"/>
                        <a:t>MRA1 V254 PHEV</a:t>
                      </a:r>
                      <a:endParaRPr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600"/>
                      </a:pPr>
                      <a:r>
                        <a:rPr lang="en-US" sz="1200" dirty="0"/>
                        <a:t>MFA Z174</a:t>
                      </a:r>
                      <a:endParaRPr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600"/>
                      </a:pPr>
                      <a:r>
                        <a:rPr sz="1200" dirty="0"/>
                        <a:t>SY </a:t>
                      </a:r>
                      <a:r>
                        <a:rPr lang="en-US" sz="1200" dirty="0"/>
                        <a:t>V295 &gt;96.5</a:t>
                      </a:r>
                      <a:endParaRPr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1600"/>
                      </a:pPr>
                      <a:r>
                        <a:rPr lang="en-US" sz="1200" dirty="0"/>
                        <a:t>SY X294 &gt;90</a:t>
                      </a:r>
                      <a:endParaRPr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9471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600" b="1">
                          <a:solidFill>
                            <a:srgbClr val="FF0000"/>
                          </a:solidFill>
                        </a:defRPr>
                      </a:pPr>
                      <a:r>
                        <a:rPr kumimoji="0" lang="en-US" altLang="zh-CN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等线" panose="020F0502020204030204"/>
                          <a:ea typeface="等线" panose="02010600030101010101" pitchFamily="2" charset="-122"/>
                          <a:cs typeface="+mn-cs"/>
                        </a:rPr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600" b="1">
                          <a:solidFill>
                            <a:srgbClr val="FF0000"/>
                          </a:solidFill>
                        </a:defRPr>
                      </a:pPr>
                      <a:r>
                        <a:rPr kumimoji="0" lang="en-US" altLang="zh-CN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600" b="1">
                          <a:solidFill>
                            <a:srgbClr val="FF0000"/>
                          </a:solidFill>
                        </a:defRPr>
                      </a:pPr>
                      <a:r>
                        <a:rPr kumimoji="0" lang="en-US" altLang="zh-CN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600" b="1">
                          <a:solidFill>
                            <a:srgbClr val="FF0000"/>
                          </a:solidFill>
                        </a:defRPr>
                      </a:pPr>
                      <a:r>
                        <a:rPr kumimoji="0" lang="en-US" altLang="zh-CN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600" b="1">
                          <a:solidFill>
                            <a:srgbClr val="FF0000"/>
                          </a:solidFill>
                        </a:defRPr>
                      </a:pPr>
                      <a:r>
                        <a:rPr kumimoji="0" lang="en-US" altLang="zh-CN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86.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600" b="1">
                          <a:solidFill>
                            <a:srgbClr val="FF0000"/>
                          </a:solidFill>
                        </a:defRPr>
                      </a:pPr>
                      <a:r>
                        <a:rPr kumimoji="0" lang="en-US" altLang="zh-CN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600" b="1">
                          <a:solidFill>
                            <a:srgbClr val="FF0000"/>
                          </a:solidFill>
                        </a:defRPr>
                      </a:pPr>
                      <a:r>
                        <a:rPr kumimoji="0" lang="en-US" altLang="zh-CN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600" b="1">
                          <a:solidFill>
                            <a:srgbClr val="FF0000"/>
                          </a:solidFill>
                        </a:defRPr>
                      </a:pPr>
                      <a:r>
                        <a:rPr kumimoji="0" lang="en-US" altLang="zh-CN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6" name="文本框 5"/>
          <p:cNvSpPr txBox="1"/>
          <p:nvPr/>
        </p:nvSpPr>
        <p:spPr>
          <a:xfrm>
            <a:off x="5248614" y="123329"/>
            <a:ext cx="553216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b="1" dirty="0"/>
              <a:t>Production Date</a:t>
            </a:r>
            <a:r>
              <a:rPr lang="zh-CN" altLang="en-US" sz="2000" b="1" dirty="0"/>
              <a:t>：</a:t>
            </a:r>
            <a:r>
              <a:rPr lang="en-US" altLang="zh-CN" sz="2000" b="1" dirty="0"/>
              <a:t>2024/01/10-01/12</a:t>
            </a:r>
            <a:endParaRPr lang="en-US" altLang="zh-CN" sz="2000" b="1" dirty="0">
              <a:solidFill>
                <a:schemeClr val="bg1"/>
              </a:solidFill>
            </a:endParaRP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B28B8183-F077-61EA-472A-C7B9812752F3}"/>
              </a:ext>
            </a:extLst>
          </p:cNvPr>
          <p:cNvSpPr/>
          <p:nvPr/>
        </p:nvSpPr>
        <p:spPr>
          <a:xfrm>
            <a:off x="10230093" y="52884"/>
            <a:ext cx="1101366" cy="532342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手动填写</a:t>
            </a:r>
            <a:endParaRPr lang="en-US" dirty="0"/>
          </a:p>
        </p:txBody>
      </p:sp>
      <p:sp>
        <p:nvSpPr>
          <p:cNvPr id="7" name="箭头: 下 6">
            <a:extLst>
              <a:ext uri="{FF2B5EF4-FFF2-40B4-BE49-F238E27FC236}">
                <a16:creationId xmlns:a16="http://schemas.microsoft.com/office/drawing/2014/main" id="{0C655ADC-9EEE-4B63-015B-E667494C21CA}"/>
              </a:ext>
            </a:extLst>
          </p:cNvPr>
          <p:cNvSpPr/>
          <p:nvPr/>
        </p:nvSpPr>
        <p:spPr>
          <a:xfrm rot="5400000">
            <a:off x="9757957" y="161564"/>
            <a:ext cx="400111" cy="314982"/>
          </a:xfrm>
          <a:prstGeom prst="down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矩形: 圆角 8">
            <a:extLst>
              <a:ext uri="{FF2B5EF4-FFF2-40B4-BE49-F238E27FC236}">
                <a16:creationId xmlns:a16="http://schemas.microsoft.com/office/drawing/2014/main" id="{C2FBB71E-2B4F-ABEF-0FEB-69479D24FAB9}"/>
              </a:ext>
            </a:extLst>
          </p:cNvPr>
          <p:cNvSpPr/>
          <p:nvPr/>
        </p:nvSpPr>
        <p:spPr>
          <a:xfrm>
            <a:off x="7408487" y="102720"/>
            <a:ext cx="2277445" cy="400110"/>
          </a:xfrm>
          <a:prstGeom prst="roundRect">
            <a:avLst/>
          </a:prstGeom>
          <a:noFill/>
          <a:ln w="28575">
            <a:prstDash val="dash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9F8DB7FF-FD39-A2C1-CA0B-BDBCD0F81863}"/>
              </a:ext>
            </a:extLst>
          </p:cNvPr>
          <p:cNvSpPr/>
          <p:nvPr/>
        </p:nvSpPr>
        <p:spPr>
          <a:xfrm>
            <a:off x="4643733" y="6204706"/>
            <a:ext cx="1603237" cy="532342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可以上传附件</a:t>
            </a:r>
            <a:endParaRPr lang="en-US" dirty="0"/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F8C8A0D5-D522-16CA-2CE7-19BCF01AEA65}"/>
              </a:ext>
            </a:extLst>
          </p:cNvPr>
          <p:cNvSpPr/>
          <p:nvPr/>
        </p:nvSpPr>
        <p:spPr>
          <a:xfrm>
            <a:off x="8351904" y="4421651"/>
            <a:ext cx="3756377" cy="305891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点击后面的加号可以再加新的一行</a:t>
            </a:r>
            <a:endParaRPr lang="en-US" dirty="0"/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1D1BFFD6-24CD-7F68-63E9-B3CE81A9501B}"/>
              </a:ext>
            </a:extLst>
          </p:cNvPr>
          <p:cNvSpPr/>
          <p:nvPr/>
        </p:nvSpPr>
        <p:spPr>
          <a:xfrm>
            <a:off x="944244" y="6193902"/>
            <a:ext cx="1101366" cy="532342"/>
          </a:xfrm>
          <a:prstGeom prst="rect">
            <a:avLst/>
          </a:prstGeom>
          <a:solidFill>
            <a:srgbClr val="00B05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文件</a:t>
            </a:r>
            <a:r>
              <a:rPr lang="en-US" altLang="zh-CN" dirty="0" err="1"/>
              <a:t>Voca</a:t>
            </a:r>
            <a:endParaRPr lang="en-US" dirty="0"/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A1001E6F-F571-93AB-0976-791AEFB4D0F5}"/>
              </a:ext>
            </a:extLst>
          </p:cNvPr>
          <p:cNvSpPr/>
          <p:nvPr/>
        </p:nvSpPr>
        <p:spPr>
          <a:xfrm>
            <a:off x="2332169" y="6191473"/>
            <a:ext cx="1101366" cy="532342"/>
          </a:xfrm>
          <a:prstGeom prst="rect">
            <a:avLst/>
          </a:prstGeom>
          <a:solidFill>
            <a:srgbClr val="00B05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文件电池</a:t>
            </a:r>
            <a:endParaRPr lang="en-US" dirty="0"/>
          </a:p>
        </p:txBody>
      </p:sp>
      <p:sp>
        <p:nvSpPr>
          <p:cNvPr id="14" name="矩形: 圆角 13">
            <a:extLst>
              <a:ext uri="{FF2B5EF4-FFF2-40B4-BE49-F238E27FC236}">
                <a16:creationId xmlns:a16="http://schemas.microsoft.com/office/drawing/2014/main" id="{EC890624-0D5E-2E5F-B4EF-DD16590A85E2}"/>
              </a:ext>
            </a:extLst>
          </p:cNvPr>
          <p:cNvSpPr/>
          <p:nvPr/>
        </p:nvSpPr>
        <p:spPr>
          <a:xfrm>
            <a:off x="254810" y="3343282"/>
            <a:ext cx="914400" cy="291600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车型</a:t>
            </a:r>
            <a:endParaRPr lang="en-US" dirty="0"/>
          </a:p>
        </p:txBody>
      </p:sp>
      <p:sp>
        <p:nvSpPr>
          <p:cNvPr id="15" name="矩形: 圆角 14">
            <a:extLst>
              <a:ext uri="{FF2B5EF4-FFF2-40B4-BE49-F238E27FC236}">
                <a16:creationId xmlns:a16="http://schemas.microsoft.com/office/drawing/2014/main" id="{F23E5922-D87E-D7FE-C4C0-260164008AD9}"/>
              </a:ext>
            </a:extLst>
          </p:cNvPr>
          <p:cNvSpPr/>
          <p:nvPr/>
        </p:nvSpPr>
        <p:spPr>
          <a:xfrm>
            <a:off x="2443846" y="3343282"/>
            <a:ext cx="914400" cy="291600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ECU</a:t>
            </a:r>
            <a:endParaRPr lang="en-US" dirty="0"/>
          </a:p>
        </p:txBody>
      </p:sp>
      <p:sp>
        <p:nvSpPr>
          <p:cNvPr id="16" name="矩形: 圆角 15">
            <a:extLst>
              <a:ext uri="{FF2B5EF4-FFF2-40B4-BE49-F238E27FC236}">
                <a16:creationId xmlns:a16="http://schemas.microsoft.com/office/drawing/2014/main" id="{F7210A12-9D4E-D39A-EAFA-92B01DE386C5}"/>
              </a:ext>
            </a:extLst>
          </p:cNvPr>
          <p:cNvSpPr/>
          <p:nvPr/>
        </p:nvSpPr>
        <p:spPr>
          <a:xfrm>
            <a:off x="3601750" y="3343282"/>
            <a:ext cx="2799050" cy="291600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DTC+</a:t>
            </a:r>
            <a:r>
              <a:rPr lang="zh-CN" altLang="en-US" dirty="0"/>
              <a:t>报的问题描述</a:t>
            </a:r>
            <a:endParaRPr lang="en-US" altLang="zh-CN" dirty="0"/>
          </a:p>
        </p:txBody>
      </p:sp>
      <p:sp>
        <p:nvSpPr>
          <p:cNvPr id="18" name="矩形: 圆角 17">
            <a:extLst>
              <a:ext uri="{FF2B5EF4-FFF2-40B4-BE49-F238E27FC236}">
                <a16:creationId xmlns:a16="http://schemas.microsoft.com/office/drawing/2014/main" id="{073B3B9D-65F8-BDB2-FF3B-BB9CE35AECF9}"/>
              </a:ext>
            </a:extLst>
          </p:cNvPr>
          <p:cNvSpPr/>
          <p:nvPr/>
        </p:nvSpPr>
        <p:spPr>
          <a:xfrm>
            <a:off x="1374504" y="3343282"/>
            <a:ext cx="914400" cy="291600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PN</a:t>
            </a:r>
            <a:r>
              <a:rPr lang="zh-CN" altLang="en-US" dirty="0"/>
              <a:t>号</a:t>
            </a:r>
            <a:endParaRPr lang="en-US" dirty="0"/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9A44BE68-E8F8-0A5A-11FA-435CC44471FE}"/>
              </a:ext>
            </a:extLst>
          </p:cNvPr>
          <p:cNvSpPr/>
          <p:nvPr/>
        </p:nvSpPr>
        <p:spPr>
          <a:xfrm>
            <a:off x="6645409" y="3340999"/>
            <a:ext cx="4746781" cy="29160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自行编辑</a:t>
            </a:r>
            <a:endParaRPr lang="en-US" dirty="0"/>
          </a:p>
        </p:txBody>
      </p:sp>
      <p:graphicFrame>
        <p:nvGraphicFramePr>
          <p:cNvPr id="20" name="表格 19">
            <a:extLst>
              <a:ext uri="{FF2B5EF4-FFF2-40B4-BE49-F238E27FC236}">
                <a16:creationId xmlns:a16="http://schemas.microsoft.com/office/drawing/2014/main" id="{D576D7EA-BE9E-E009-383A-1E6286CD2E8B}"/>
              </a:ext>
            </a:extLst>
          </p:cNvPr>
          <p:cNvGraphicFramePr>
            <a:graphicFrameLocks noGrp="1"/>
          </p:cNvGraphicFramePr>
          <p:nvPr/>
        </p:nvGraphicFramePr>
        <p:xfrm>
          <a:off x="98010" y="3937801"/>
          <a:ext cx="11520000" cy="3657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66337">
                  <a:extLst>
                    <a:ext uri="{9D8B030D-6E8A-4147-A177-3AD203B41FA5}">
                      <a16:colId xmlns:a16="http://schemas.microsoft.com/office/drawing/2014/main" val="641044340"/>
                    </a:ext>
                  </a:extLst>
                </a:gridCol>
                <a:gridCol w="1190033">
                  <a:extLst>
                    <a:ext uri="{9D8B030D-6E8A-4147-A177-3AD203B41FA5}">
                      <a16:colId xmlns:a16="http://schemas.microsoft.com/office/drawing/2014/main" val="2236584108"/>
                    </a:ext>
                  </a:extLst>
                </a:gridCol>
                <a:gridCol w="1084465">
                  <a:extLst>
                    <a:ext uri="{9D8B030D-6E8A-4147-A177-3AD203B41FA5}">
                      <a16:colId xmlns:a16="http://schemas.microsoft.com/office/drawing/2014/main" val="2267450743"/>
                    </a:ext>
                  </a:extLst>
                </a:gridCol>
                <a:gridCol w="3128632">
                  <a:extLst>
                    <a:ext uri="{9D8B030D-6E8A-4147-A177-3AD203B41FA5}">
                      <a16:colId xmlns:a16="http://schemas.microsoft.com/office/drawing/2014/main" val="2840359993"/>
                    </a:ext>
                  </a:extLst>
                </a:gridCol>
                <a:gridCol w="5050533">
                  <a:extLst>
                    <a:ext uri="{9D8B030D-6E8A-4147-A177-3AD203B41FA5}">
                      <a16:colId xmlns:a16="http://schemas.microsoft.com/office/drawing/2014/main" val="394783004"/>
                    </a:ext>
                  </a:extLst>
                </a:gridCol>
              </a:tblGrid>
              <a:tr h="279721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51908656"/>
                  </a:ext>
                </a:extLst>
              </a:tr>
            </a:tbl>
          </a:graphicData>
        </a:graphic>
      </p:graphicFrame>
      <p:sp>
        <p:nvSpPr>
          <p:cNvPr id="21" name="iconfont-10019-4873440">
            <a:extLst>
              <a:ext uri="{FF2B5EF4-FFF2-40B4-BE49-F238E27FC236}">
                <a16:creationId xmlns:a16="http://schemas.microsoft.com/office/drawing/2014/main" id="{D40A4095-0F29-F09D-32AF-F71472A95960}"/>
              </a:ext>
            </a:extLst>
          </p:cNvPr>
          <p:cNvSpPr/>
          <p:nvPr/>
        </p:nvSpPr>
        <p:spPr>
          <a:xfrm>
            <a:off x="11643157" y="3942457"/>
            <a:ext cx="304325" cy="304325"/>
          </a:xfrm>
          <a:custGeom>
            <a:avLst/>
            <a:gdLst>
              <a:gd name="T0" fmla="*/ 6392 w 12784"/>
              <a:gd name="T1" fmla="*/ 0 h 12784"/>
              <a:gd name="T2" fmla="*/ 0 w 12784"/>
              <a:gd name="T3" fmla="*/ 6392 h 12784"/>
              <a:gd name="T4" fmla="*/ 6392 w 12784"/>
              <a:gd name="T5" fmla="*/ 12784 h 12784"/>
              <a:gd name="T6" fmla="*/ 12784 w 12784"/>
              <a:gd name="T7" fmla="*/ 6392 h 12784"/>
              <a:gd name="T8" fmla="*/ 6392 w 12784"/>
              <a:gd name="T9" fmla="*/ 0 h 12784"/>
              <a:gd name="T10" fmla="*/ 6392 w 12784"/>
              <a:gd name="T11" fmla="*/ 11825 h 12784"/>
              <a:gd name="T12" fmla="*/ 959 w 12784"/>
              <a:gd name="T13" fmla="*/ 6392 h 12784"/>
              <a:gd name="T14" fmla="*/ 6392 w 12784"/>
              <a:gd name="T15" fmla="*/ 959 h 12784"/>
              <a:gd name="T16" fmla="*/ 11825 w 12784"/>
              <a:gd name="T17" fmla="*/ 6392 h 12784"/>
              <a:gd name="T18" fmla="*/ 6392 w 12784"/>
              <a:gd name="T19" fmla="*/ 11825 h 12784"/>
              <a:gd name="T20" fmla="*/ 9428 w 12784"/>
              <a:gd name="T21" fmla="*/ 5913 h 12784"/>
              <a:gd name="T22" fmla="*/ 6871 w 12784"/>
              <a:gd name="T23" fmla="*/ 5913 h 12784"/>
              <a:gd name="T24" fmla="*/ 6871 w 12784"/>
              <a:gd name="T25" fmla="*/ 3356 h 12784"/>
              <a:gd name="T26" fmla="*/ 6392 w 12784"/>
              <a:gd name="T27" fmla="*/ 2877 h 12784"/>
              <a:gd name="T28" fmla="*/ 5913 w 12784"/>
              <a:gd name="T29" fmla="*/ 3356 h 12784"/>
              <a:gd name="T30" fmla="*/ 5913 w 12784"/>
              <a:gd name="T31" fmla="*/ 5913 h 12784"/>
              <a:gd name="T32" fmla="*/ 3356 w 12784"/>
              <a:gd name="T33" fmla="*/ 5913 h 12784"/>
              <a:gd name="T34" fmla="*/ 2876 w 12784"/>
              <a:gd name="T35" fmla="*/ 6392 h 12784"/>
              <a:gd name="T36" fmla="*/ 3356 w 12784"/>
              <a:gd name="T37" fmla="*/ 6871 h 12784"/>
              <a:gd name="T38" fmla="*/ 5913 w 12784"/>
              <a:gd name="T39" fmla="*/ 6871 h 12784"/>
              <a:gd name="T40" fmla="*/ 5913 w 12784"/>
              <a:gd name="T41" fmla="*/ 9428 h 12784"/>
              <a:gd name="T42" fmla="*/ 6392 w 12784"/>
              <a:gd name="T43" fmla="*/ 9908 h 12784"/>
              <a:gd name="T44" fmla="*/ 6871 w 12784"/>
              <a:gd name="T45" fmla="*/ 9428 h 12784"/>
              <a:gd name="T46" fmla="*/ 6871 w 12784"/>
              <a:gd name="T47" fmla="*/ 6871 h 12784"/>
              <a:gd name="T48" fmla="*/ 9428 w 12784"/>
              <a:gd name="T49" fmla="*/ 6871 h 12784"/>
              <a:gd name="T50" fmla="*/ 9908 w 12784"/>
              <a:gd name="T51" fmla="*/ 6392 h 12784"/>
              <a:gd name="T52" fmla="*/ 9428 w 12784"/>
              <a:gd name="T53" fmla="*/ 5913 h 127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12784" h="12784">
                <a:moveTo>
                  <a:pt x="6392" y="0"/>
                </a:moveTo>
                <a:cubicBezTo>
                  <a:pt x="2862" y="0"/>
                  <a:pt x="0" y="2862"/>
                  <a:pt x="0" y="6392"/>
                </a:cubicBezTo>
                <a:cubicBezTo>
                  <a:pt x="0" y="9922"/>
                  <a:pt x="2862" y="12784"/>
                  <a:pt x="6392" y="12784"/>
                </a:cubicBezTo>
                <a:cubicBezTo>
                  <a:pt x="9922" y="12784"/>
                  <a:pt x="12784" y="9922"/>
                  <a:pt x="12784" y="6392"/>
                </a:cubicBezTo>
                <a:cubicBezTo>
                  <a:pt x="12784" y="2862"/>
                  <a:pt x="9922" y="0"/>
                  <a:pt x="6392" y="0"/>
                </a:cubicBezTo>
                <a:close/>
                <a:moveTo>
                  <a:pt x="6392" y="11825"/>
                </a:moveTo>
                <a:cubicBezTo>
                  <a:pt x="3391" y="11825"/>
                  <a:pt x="959" y="9393"/>
                  <a:pt x="959" y="6392"/>
                </a:cubicBezTo>
                <a:cubicBezTo>
                  <a:pt x="959" y="3391"/>
                  <a:pt x="3391" y="959"/>
                  <a:pt x="6392" y="959"/>
                </a:cubicBezTo>
                <a:cubicBezTo>
                  <a:pt x="9393" y="959"/>
                  <a:pt x="11825" y="3391"/>
                  <a:pt x="11825" y="6392"/>
                </a:cubicBezTo>
                <a:cubicBezTo>
                  <a:pt x="11825" y="9393"/>
                  <a:pt x="9393" y="11825"/>
                  <a:pt x="6392" y="11825"/>
                </a:cubicBezTo>
                <a:close/>
                <a:moveTo>
                  <a:pt x="9428" y="5913"/>
                </a:moveTo>
                <a:lnTo>
                  <a:pt x="6871" y="5913"/>
                </a:lnTo>
                <a:lnTo>
                  <a:pt x="6871" y="3356"/>
                </a:lnTo>
                <a:cubicBezTo>
                  <a:pt x="6871" y="3091"/>
                  <a:pt x="6657" y="2877"/>
                  <a:pt x="6392" y="2877"/>
                </a:cubicBezTo>
                <a:cubicBezTo>
                  <a:pt x="6127" y="2877"/>
                  <a:pt x="5913" y="3091"/>
                  <a:pt x="5913" y="3356"/>
                </a:cubicBezTo>
                <a:lnTo>
                  <a:pt x="5913" y="5913"/>
                </a:lnTo>
                <a:lnTo>
                  <a:pt x="3356" y="5913"/>
                </a:lnTo>
                <a:cubicBezTo>
                  <a:pt x="3091" y="5913"/>
                  <a:pt x="2876" y="6127"/>
                  <a:pt x="2876" y="6392"/>
                </a:cubicBezTo>
                <a:cubicBezTo>
                  <a:pt x="2876" y="6657"/>
                  <a:pt x="3091" y="6871"/>
                  <a:pt x="3356" y="6871"/>
                </a:cubicBezTo>
                <a:lnTo>
                  <a:pt x="5913" y="6871"/>
                </a:lnTo>
                <a:lnTo>
                  <a:pt x="5913" y="9428"/>
                </a:lnTo>
                <a:cubicBezTo>
                  <a:pt x="5913" y="9693"/>
                  <a:pt x="6127" y="9908"/>
                  <a:pt x="6392" y="9908"/>
                </a:cubicBezTo>
                <a:cubicBezTo>
                  <a:pt x="6657" y="9908"/>
                  <a:pt x="6871" y="9693"/>
                  <a:pt x="6871" y="9428"/>
                </a:cubicBezTo>
                <a:lnTo>
                  <a:pt x="6871" y="6871"/>
                </a:lnTo>
                <a:lnTo>
                  <a:pt x="9428" y="6871"/>
                </a:lnTo>
                <a:cubicBezTo>
                  <a:pt x="9693" y="6871"/>
                  <a:pt x="9908" y="6657"/>
                  <a:pt x="9908" y="6392"/>
                </a:cubicBezTo>
                <a:cubicBezTo>
                  <a:pt x="9908" y="6127"/>
                  <a:pt x="9693" y="5913"/>
                  <a:pt x="9428" y="5913"/>
                </a:cubicBezTo>
                <a:close/>
              </a:path>
            </a:pathLst>
          </a:cu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箭头: 下 7">
            <a:extLst>
              <a:ext uri="{FF2B5EF4-FFF2-40B4-BE49-F238E27FC236}">
                <a16:creationId xmlns:a16="http://schemas.microsoft.com/office/drawing/2014/main" id="{F02953A2-CC88-E8DD-5430-6E6820317619}"/>
              </a:ext>
            </a:extLst>
          </p:cNvPr>
          <p:cNvSpPr/>
          <p:nvPr/>
        </p:nvSpPr>
        <p:spPr>
          <a:xfrm rot="5400000">
            <a:off x="3838578" y="6313386"/>
            <a:ext cx="400111" cy="314982"/>
          </a:xfrm>
          <a:prstGeom prst="down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4" name="直接连接符 23">
            <a:extLst>
              <a:ext uri="{FF2B5EF4-FFF2-40B4-BE49-F238E27FC236}">
                <a16:creationId xmlns:a16="http://schemas.microsoft.com/office/drawing/2014/main" id="{6C75E99F-65F9-E47B-C728-B07EAF36AD4E}"/>
              </a:ext>
            </a:extLst>
          </p:cNvPr>
          <p:cNvCxnSpPr>
            <a:cxnSpLocks/>
          </p:cNvCxnSpPr>
          <p:nvPr/>
        </p:nvCxnSpPr>
        <p:spPr>
          <a:xfrm>
            <a:off x="343765" y="5943600"/>
            <a:ext cx="11449714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箭头: 下 26">
            <a:extLst>
              <a:ext uri="{FF2B5EF4-FFF2-40B4-BE49-F238E27FC236}">
                <a16:creationId xmlns:a16="http://schemas.microsoft.com/office/drawing/2014/main" id="{09C04A4B-A15C-EEBB-3BA2-069292AA874A}"/>
              </a:ext>
            </a:extLst>
          </p:cNvPr>
          <p:cNvSpPr/>
          <p:nvPr/>
        </p:nvSpPr>
        <p:spPr>
          <a:xfrm>
            <a:off x="511954" y="3701522"/>
            <a:ext cx="400111" cy="191634"/>
          </a:xfrm>
          <a:prstGeom prst="downArrow">
            <a:avLst/>
          </a:prstGeom>
          <a:solidFill>
            <a:srgbClr val="FFC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箭头: 下 27">
            <a:extLst>
              <a:ext uri="{FF2B5EF4-FFF2-40B4-BE49-F238E27FC236}">
                <a16:creationId xmlns:a16="http://schemas.microsoft.com/office/drawing/2014/main" id="{593B69F5-275B-19D0-9AC0-EAB2028260D0}"/>
              </a:ext>
            </a:extLst>
          </p:cNvPr>
          <p:cNvSpPr/>
          <p:nvPr/>
        </p:nvSpPr>
        <p:spPr>
          <a:xfrm>
            <a:off x="1617591" y="3701522"/>
            <a:ext cx="400111" cy="191634"/>
          </a:xfrm>
          <a:prstGeom prst="downArrow">
            <a:avLst/>
          </a:prstGeom>
          <a:solidFill>
            <a:srgbClr val="FFC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箭头: 下 28">
            <a:extLst>
              <a:ext uri="{FF2B5EF4-FFF2-40B4-BE49-F238E27FC236}">
                <a16:creationId xmlns:a16="http://schemas.microsoft.com/office/drawing/2014/main" id="{28AE7445-9A15-6A60-99A2-91F168CCB622}"/>
              </a:ext>
            </a:extLst>
          </p:cNvPr>
          <p:cNvSpPr/>
          <p:nvPr/>
        </p:nvSpPr>
        <p:spPr>
          <a:xfrm>
            <a:off x="2682796" y="3702590"/>
            <a:ext cx="400111" cy="191634"/>
          </a:xfrm>
          <a:prstGeom prst="downArrow">
            <a:avLst/>
          </a:prstGeom>
          <a:solidFill>
            <a:srgbClr val="FFC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箭头: 下 29">
            <a:extLst>
              <a:ext uri="{FF2B5EF4-FFF2-40B4-BE49-F238E27FC236}">
                <a16:creationId xmlns:a16="http://schemas.microsoft.com/office/drawing/2014/main" id="{E0CF8999-F212-4F52-F24C-2EB6AE4FD1D3}"/>
              </a:ext>
            </a:extLst>
          </p:cNvPr>
          <p:cNvSpPr/>
          <p:nvPr/>
        </p:nvSpPr>
        <p:spPr>
          <a:xfrm>
            <a:off x="4848503" y="3711432"/>
            <a:ext cx="400111" cy="191634"/>
          </a:xfrm>
          <a:prstGeom prst="downArrow">
            <a:avLst/>
          </a:prstGeom>
          <a:solidFill>
            <a:srgbClr val="FFC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箭头: 下 30">
            <a:extLst>
              <a:ext uri="{FF2B5EF4-FFF2-40B4-BE49-F238E27FC236}">
                <a16:creationId xmlns:a16="http://schemas.microsoft.com/office/drawing/2014/main" id="{5E05A63D-A50F-F42B-7BE5-4CBB18020A26}"/>
              </a:ext>
            </a:extLst>
          </p:cNvPr>
          <p:cNvSpPr/>
          <p:nvPr/>
        </p:nvSpPr>
        <p:spPr>
          <a:xfrm>
            <a:off x="8818743" y="3687500"/>
            <a:ext cx="400111" cy="191634"/>
          </a:xfrm>
          <a:prstGeom prst="downArrow">
            <a:avLst/>
          </a:prstGeom>
          <a:solidFill>
            <a:srgbClr val="FFC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2925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表格 1"/>
          <p:cNvGraphicFramePr>
            <a:graphicFrameLocks noGrp="1"/>
          </p:cNvGraphicFramePr>
          <p:nvPr/>
        </p:nvGraphicFramePr>
        <p:xfrm>
          <a:off x="0" y="431453"/>
          <a:ext cx="12191999" cy="1203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16704">
                  <a:extLst>
                    <a:ext uri="{9D8B030D-6E8A-4147-A177-3AD203B41FA5}">
                      <a16:colId xmlns:a16="http://schemas.microsoft.com/office/drawing/2014/main" val="2891145123"/>
                    </a:ext>
                  </a:extLst>
                </a:gridCol>
                <a:gridCol w="1157681">
                  <a:extLst>
                    <a:ext uri="{9D8B030D-6E8A-4147-A177-3AD203B41FA5}">
                      <a16:colId xmlns:a16="http://schemas.microsoft.com/office/drawing/2014/main" val="1003299583"/>
                    </a:ext>
                  </a:extLst>
                </a:gridCol>
                <a:gridCol w="2927144">
                  <a:extLst>
                    <a:ext uri="{9D8B030D-6E8A-4147-A177-3AD203B41FA5}">
                      <a16:colId xmlns:a16="http://schemas.microsoft.com/office/drawing/2014/main" val="129194079"/>
                    </a:ext>
                  </a:extLst>
                </a:gridCol>
                <a:gridCol w="2842436">
                  <a:extLst>
                    <a:ext uri="{9D8B030D-6E8A-4147-A177-3AD203B41FA5}">
                      <a16:colId xmlns:a16="http://schemas.microsoft.com/office/drawing/2014/main" val="3823053405"/>
                    </a:ext>
                  </a:extLst>
                </a:gridCol>
                <a:gridCol w="771787">
                  <a:extLst>
                    <a:ext uri="{9D8B030D-6E8A-4147-A177-3AD203B41FA5}">
                      <a16:colId xmlns:a16="http://schemas.microsoft.com/office/drawing/2014/main" val="3414738951"/>
                    </a:ext>
                  </a:extLst>
                </a:gridCol>
                <a:gridCol w="2268302">
                  <a:extLst>
                    <a:ext uri="{9D8B030D-6E8A-4147-A177-3AD203B41FA5}">
                      <a16:colId xmlns:a16="http://schemas.microsoft.com/office/drawing/2014/main" val="277829700"/>
                    </a:ext>
                  </a:extLst>
                </a:gridCol>
                <a:gridCol w="1207945">
                  <a:extLst>
                    <a:ext uri="{9D8B030D-6E8A-4147-A177-3AD203B41FA5}">
                      <a16:colId xmlns:a16="http://schemas.microsoft.com/office/drawing/2014/main" val="279095102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200" dirty="0"/>
                        <a:t>Issue</a:t>
                      </a:r>
                      <a:r>
                        <a:rPr lang="en-US" sz="1200" baseline="0" dirty="0"/>
                        <a:t> date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Carli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Issu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First</a:t>
                      </a:r>
                      <a:r>
                        <a:rPr lang="en-US" sz="1200" baseline="0" dirty="0"/>
                        <a:t> analysis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Caus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Next ste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IRA</a:t>
                      </a:r>
                      <a:r>
                        <a:rPr lang="en-US" sz="1200" baseline="0" dirty="0"/>
                        <a:t> e-Drive</a:t>
                      </a:r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70014226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altLang="zh-CN" sz="1100" baseline="0" dirty="0"/>
                        <a:t>16</a:t>
                      </a:r>
                      <a:r>
                        <a:rPr lang="en-US" sz="1100" baseline="30000" dirty="0"/>
                        <a:t>th</a:t>
                      </a:r>
                      <a:r>
                        <a:rPr lang="en-US" sz="1100" dirty="0"/>
                        <a:t> of </a:t>
                      </a:r>
                      <a:r>
                        <a:rPr lang="en-US" altLang="zh-CN" sz="1100" dirty="0"/>
                        <a:t>June</a:t>
                      </a:r>
                      <a:r>
                        <a:rPr lang="en-US" sz="1100" dirty="0"/>
                        <a:t> 202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100" dirty="0"/>
                        <a:t>V295 C2</a:t>
                      </a:r>
                      <a:r>
                        <a:rPr lang="en-US" altLang="zh-CN" sz="1100" baseline="0" dirty="0"/>
                        <a:t> PT2 KNFE </a:t>
                      </a:r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N0136575</a:t>
                      </a:r>
                      <a:endParaRPr 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/>
                        <a:t>After</a:t>
                      </a:r>
                      <a:r>
                        <a:rPr lang="en-US" sz="1100" baseline="0" dirty="0"/>
                        <a:t> charging, the vehicle has HV warning, after sleep, the car can be driven for a while, then stopped and can not moved on the road. </a:t>
                      </a:r>
                      <a:r>
                        <a:rPr lang="en-US" sz="1100" dirty="0"/>
                        <a:t>“HV malfunction”</a:t>
                      </a:r>
                      <a:r>
                        <a:rPr lang="en-US" sz="1100" baseline="0" dirty="0"/>
                        <a:t> showed on the IC screen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100" baseline="0" dirty="0"/>
                        <a:t>Got QT right after issue happened, EPT1 showed 5 DTCs, Zhang Jie suspect it is known issue.</a:t>
                      </a:r>
                      <a:endParaRPr lang="en-US" sz="1100" baseline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/>
                        <a:t>EPT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/>
                        <a:t>This</a:t>
                      </a:r>
                      <a:r>
                        <a:rPr lang="en-US" sz="1100" baseline="0" dirty="0"/>
                        <a:t> vehicle will be installed with </a:t>
                      </a:r>
                      <a:r>
                        <a:rPr lang="en-US" sz="1100" baseline="0" dirty="0" err="1"/>
                        <a:t>datalogger</a:t>
                      </a:r>
                      <a:r>
                        <a:rPr lang="en-US" sz="1100" baseline="0" dirty="0"/>
                        <a:t>, and try to reproduce the issue.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/>
                        <a:t>Hao</a:t>
                      </a:r>
                      <a:r>
                        <a:rPr lang="en-US" sz="1100" baseline="0" dirty="0"/>
                        <a:t> Shuai/Ren Hetao</a:t>
                      </a:r>
                      <a:endParaRPr lang="en-US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60335413"/>
                  </a:ext>
                </a:extLst>
              </a:tr>
            </a:tbl>
          </a:graphicData>
        </a:graphic>
      </p:graphicFrame>
      <p:sp>
        <p:nvSpPr>
          <p:cNvPr id="3" name="矩形 2"/>
          <p:cNvSpPr/>
          <p:nvPr/>
        </p:nvSpPr>
        <p:spPr>
          <a:xfrm>
            <a:off x="63810" y="129053"/>
            <a:ext cx="11844791" cy="302400"/>
          </a:xfrm>
          <a:prstGeom prst="rect">
            <a:avLst/>
          </a:prstGeom>
          <a:solidFill>
            <a:srgbClr val="5B9B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Wingdings" panose="05000000000000000000" pitchFamily="2" charset="2"/>
              <a:buChar char="u"/>
            </a:pPr>
            <a:r>
              <a:rPr lang="en-US" altLang="zh-CN" b="1" dirty="0" err="1">
                <a:solidFill>
                  <a:schemeClr val="bg1"/>
                </a:solidFill>
              </a:rPr>
              <a:t>VoCA</a:t>
            </a:r>
            <a:r>
              <a:rPr lang="en-US" altLang="zh-CN" b="1" dirty="0">
                <a:solidFill>
                  <a:schemeClr val="bg1"/>
                </a:solidFill>
              </a:rPr>
              <a:t>/RGA/KNFE</a:t>
            </a:r>
            <a:endParaRPr lang="en-US" altLang="zh-CN" sz="1800" b="1" dirty="0">
              <a:solidFill>
                <a:schemeClr val="bg1"/>
              </a:solidFill>
            </a:endParaRP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1C7A525F-34B6-383B-F56B-2CA6ACAE4CAA}"/>
              </a:ext>
            </a:extLst>
          </p:cNvPr>
          <p:cNvSpPr/>
          <p:nvPr/>
        </p:nvSpPr>
        <p:spPr>
          <a:xfrm>
            <a:off x="7589064" y="1786710"/>
            <a:ext cx="4115256" cy="696607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需要一个表格，表头就按面的白字表头就行，下面的表格全部都是手动填写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182464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</TotalTime>
  <Words>358</Words>
  <Application>Microsoft Office PowerPoint</Application>
  <PresentationFormat>宽屏</PresentationFormat>
  <Paragraphs>98</Paragraphs>
  <Slides>3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3</vt:i4>
      </vt:variant>
    </vt:vector>
  </HeadingPairs>
  <TitlesOfParts>
    <vt:vector size="11" baseType="lpstr">
      <vt:lpstr>CorpoS</vt:lpstr>
      <vt:lpstr>等线</vt:lpstr>
      <vt:lpstr>等线 Light</vt:lpstr>
      <vt:lpstr>Arial</vt:lpstr>
      <vt:lpstr>Impact</vt:lpstr>
      <vt:lpstr>Wingdings</vt:lpstr>
      <vt:lpstr>Office 主题​​</vt:lpstr>
      <vt:lpstr>think-cell 幻灯片</vt:lpstr>
      <vt:lpstr>PowerPoint 演示文稿</vt:lpstr>
      <vt:lpstr>PowerPoint 演示文稿</vt:lpstr>
      <vt:lpstr>PowerPoint 演示文稿</vt:lpstr>
    </vt:vector>
  </TitlesOfParts>
  <Company>BBAC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ren hetao 任贺涛</dc:creator>
  <cp:lastModifiedBy>镭 刘</cp:lastModifiedBy>
  <cp:revision>1</cp:revision>
  <dcterms:created xsi:type="dcterms:W3CDTF">2024-01-22T10:42:44Z</dcterms:created>
  <dcterms:modified xsi:type="dcterms:W3CDTF">2024-03-09T03:52:52Z</dcterms:modified>
</cp:coreProperties>
</file>